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8"/>
  </p:notesMasterIdLst>
  <p:sldIdLst>
    <p:sldId id="256" r:id="rId5"/>
    <p:sldId id="556" r:id="rId6"/>
    <p:sldId id="606" r:id="rId7"/>
    <p:sldId id="607" r:id="rId8"/>
    <p:sldId id="608" r:id="rId9"/>
    <p:sldId id="609" r:id="rId10"/>
    <p:sldId id="610" r:id="rId11"/>
    <p:sldId id="611" r:id="rId12"/>
    <p:sldId id="612" r:id="rId13"/>
    <p:sldId id="613" r:id="rId14"/>
    <p:sldId id="634" r:id="rId15"/>
    <p:sldId id="614" r:id="rId16"/>
    <p:sldId id="615" r:id="rId17"/>
    <p:sldId id="616" r:id="rId18"/>
    <p:sldId id="617" r:id="rId19"/>
    <p:sldId id="618" r:id="rId20"/>
    <p:sldId id="632" r:id="rId21"/>
    <p:sldId id="619" r:id="rId22"/>
    <p:sldId id="633" r:id="rId23"/>
    <p:sldId id="620" r:id="rId24"/>
    <p:sldId id="621" r:id="rId25"/>
    <p:sldId id="622" r:id="rId26"/>
    <p:sldId id="623" r:id="rId27"/>
    <p:sldId id="624" r:id="rId28"/>
    <p:sldId id="625" r:id="rId29"/>
    <p:sldId id="626" r:id="rId30"/>
    <p:sldId id="627" r:id="rId31"/>
    <p:sldId id="628" r:id="rId32"/>
    <p:sldId id="631" r:id="rId33"/>
    <p:sldId id="604" r:id="rId34"/>
    <p:sldId id="605" r:id="rId35"/>
    <p:sldId id="495" r:id="rId36"/>
    <p:sldId id="454" r:id="rId3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3570" autoAdjust="0"/>
  </p:normalViewPr>
  <p:slideViewPr>
    <p:cSldViewPr snapToGrid="0">
      <p:cViewPr varScale="1">
        <p:scale>
          <a:sx n="70" d="100"/>
          <a:sy n="70" d="100"/>
        </p:scale>
        <p:origin x="944" y="5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5</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0/2015 11: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0/2015 11: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0/2015 11: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0/2015 11: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4.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8" Type="http://schemas.openxmlformats.org/officeDocument/2006/relationships/image" Target="../media/image39.emf"/><Relationship Id="rId13" Type="http://schemas.openxmlformats.org/officeDocument/2006/relationships/image" Target="../media/image41.emf"/><Relationship Id="rId3" Type="http://schemas.openxmlformats.org/officeDocument/2006/relationships/image" Target="../media/image37.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3.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38.emf"/><Relationship Id="rId10" Type="http://schemas.openxmlformats.org/officeDocument/2006/relationships/image" Target="../media/image40.emf"/><Relationship Id="rId4" Type="http://schemas.openxmlformats.org/officeDocument/2006/relationships/image" Target="../media/image14.emf"/><Relationship Id="rId9" Type="http://schemas.openxmlformats.org/officeDocument/2006/relationships/image" Target="../media/image19.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4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zureEvent</Template>
  <TotalTime>25</TotalTime>
  <Words>2664</Words>
  <Application>Microsoft Office PowerPoint</Application>
  <PresentationFormat>Widescreen</PresentationFormat>
  <Paragraphs>393</Paragraphs>
  <Slides>33</Slides>
  <Notes>28</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2"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12</cp:revision>
  <cp:lastPrinted>2014-03-26T17:46:13Z</cp:lastPrinted>
  <dcterms:created xsi:type="dcterms:W3CDTF">2015-04-24T19:16:14Z</dcterms:created>
  <dcterms:modified xsi:type="dcterms:W3CDTF">2015-05-10T15:2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